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D9F10145-829E-4661-A525-184CE8FBD36A}">
          <p14:sldIdLst>
            <p14:sldId id="2147475173"/>
            <p14:sldId id="2147475174"/>
            <p14:sldId id="2147475175"/>
            <p14:sldId id="2147475176"/>
            <p14:sldId id="2147475177"/>
            <p14:sldId id="2147475178"/>
            <p14:sldId id="2147475179"/>
            <p14:sldId id="2147475180"/>
            <p14:sldId id="2147475181"/>
          </p14:sldIdLst>
        </p14:section>
        <p14:section name="Brackets By Segment" id="{A5668D47-9E09-46DD-95D9-95D44E144FC2}">
          <p14:sldIdLst>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7" d="100"/>
          <a:sy n="47" d="100"/>
        </p:scale>
        <p:origin x="48" y="57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7581786218338685</c:v>
                </c:pt>
                <c:pt idx="1">
                  <c:v>0.001992849069955839</c:v>
                </c:pt>
                <c:pt idx="2">
                  <c:v>0.0030580803227980777</c:v>
                </c:pt>
                <c:pt idx="3">
                  <c:v>0.0072066393740060075</c:v>
                </c:pt>
                <c:pt idx="4">
                  <c:v>0.01467372591163547</c:v>
                </c:pt>
                <c:pt idx="5">
                  <c:v>0.010793022082781356</c:v>
                </c:pt>
                <c:pt idx="6">
                  <c:v>0.006098230854863561</c:v>
                </c:pt>
                <c:pt idx="7">
                  <c:v>0.024706484426662102</c:v>
                </c:pt>
                <c:pt idx="8">
                  <c:v>0.014741854825284728</c:v>
                </c:pt>
                <c:pt idx="9">
                  <c:v>0.003807565340646541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56035532144489</c:v>
                </c:pt>
                <c:pt idx="3">
                  <c:v>0.0006088781906511064</c:v>
                </c:pt>
                <c:pt idx="4">
                  <c:v>0.0008839626744603276</c:v>
                </c:pt>
                <c:pt idx="5">
                  <c:v>0.002358141655269711</c:v>
                </c:pt>
                <c:pt idx="7">
                  <c:v>0.005722995840718313</c:v>
                </c:pt>
                <c:pt idx="8">
                  <c:v>0.00559749380730924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4288275396457098</c:v>
                </c:pt>
                <c:pt idx="2">
                  <c:v>0.0008711224294308466</c:v>
                </c:pt>
                <c:pt idx="3">
                  <c:v>0.00658809637792864</c:v>
                </c:pt>
                <c:pt idx="4">
                  <c:v>0.002724947190615666</c:v>
                </c:pt>
                <c:pt idx="5">
                  <c:v>0.0024211355111822316</c:v>
                </c:pt>
                <c:pt idx="6">
                  <c:v>0.020525051383394794</c:v>
                </c:pt>
                <c:pt idx="7">
                  <c:v>0.01640976032842305</c:v>
                </c:pt>
                <c:pt idx="8">
                  <c:v>0.034463408809668514</c:v>
                </c:pt>
                <c:pt idx="9">
                  <c:v>0.016358597650737352</c:v>
                </c:pt>
                <c:pt idx="10">
                  <c:v>0.01181995170846846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0543825240303001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7990926397190873</c:v>
                </c:pt>
                <c:pt idx="1">
                  <c:v>0.0048050304757647055</c:v>
                </c:pt>
                <c:pt idx="2">
                  <c:v>0.005317906883030675</c:v>
                </c:pt>
                <c:pt idx="3">
                  <c:v>0.012028006069154516</c:v>
                </c:pt>
                <c:pt idx="4">
                  <c:v>0.021065989210250234</c:v>
                </c:pt>
                <c:pt idx="5">
                  <c:v>0.02675046626639583</c:v>
                </c:pt>
                <c:pt idx="6">
                  <c:v>0.03154260513355025</c:v>
                </c:pt>
                <c:pt idx="7">
                  <c:v>0.05534984914623596</c:v>
                </c:pt>
                <c:pt idx="8">
                  <c:v>0.05727596067042765</c:v>
                </c:pt>
                <c:pt idx="9">
                  <c:v>0.014508220101013686</c:v>
                </c:pt>
                <c:pt idx="10">
                  <c:v>0.0618312991262864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695888067928161</c:v>
                </c:pt>
                <c:pt idx="1">
                  <c:v>0.0034656730925070097</c:v>
                </c:pt>
                <c:pt idx="2">
                  <c:v>0.0021369499209917923</c:v>
                </c:pt>
                <c:pt idx="3">
                  <c:v>0.002690892486369671</c:v>
                </c:pt>
                <c:pt idx="4">
                  <c:v>0.005248974356901978</c:v>
                </c:pt>
                <c:pt idx="5">
                  <c:v>0.028455367851496154</c:v>
                </c:pt>
                <c:pt idx="6">
                  <c:v>0.025958632301259135</c:v>
                </c:pt>
                <c:pt idx="7">
                  <c:v>0.02984550886221664</c:v>
                </c:pt>
                <c:pt idx="8">
                  <c:v>0.050434260188217055</c:v>
                </c:pt>
                <c:pt idx="9">
                  <c:v>0.03561938065480882</c:v>
                </c:pt>
                <c:pt idx="10">
                  <c:v>0.00393957234400446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73250184880771</c:v>
                </c:pt>
                <c:pt idx="1">
                  <c:v>0.0030732559853244392</c:v>
                </c:pt>
                <c:pt idx="2">
                  <c:v>0.005558985425487071</c:v>
                </c:pt>
                <c:pt idx="3">
                  <c:v>0.0027083437505772915</c:v>
                </c:pt>
                <c:pt idx="4">
                  <c:v>0.006581826120038908</c:v>
                </c:pt>
                <c:pt idx="5">
                  <c:v>0.009499445254147228</c:v>
                </c:pt>
                <c:pt idx="6">
                  <c:v>0.01897797577832796</c:v>
                </c:pt>
                <c:pt idx="7">
                  <c:v>0.021577664099828496</c:v>
                </c:pt>
                <c:pt idx="8">
                  <c:v>0.04843607645774844</c:v>
                </c:pt>
                <c:pt idx="9">
                  <c:v>0.0093626958968855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1167560762812138</c:v>
                </c:pt>
                <c:pt idx="1">
                  <c:v>0.0020144750879907062</c:v>
                </c:pt>
                <c:pt idx="2">
                  <c:v>0.000524791457669042</c:v>
                </c:pt>
                <c:pt idx="3">
                  <c:v>0.0010236319537650063</c:v>
                </c:pt>
                <c:pt idx="4">
                  <c:v>0.001866257348427401</c:v>
                </c:pt>
                <c:pt idx="5">
                  <c:v>0.005717263274997268</c:v>
                </c:pt>
                <c:pt idx="6">
                  <c:v>0.009401939623136735</c:v>
                </c:pt>
                <c:pt idx="7">
                  <c:v>0.003152825974055159</c:v>
                </c:pt>
                <c:pt idx="8">
                  <c:v>0.001041934943173327</c:v>
                </c:pt>
                <c:pt idx="9">
                  <c:v>0.000642624063240359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3820749780182892</c:v>
                </c:pt>
                <c:pt idx="3">
                  <c:v>0.000507040464211404</c:v>
                </c:pt>
                <c:pt idx="4">
                  <c:v>0.0019637434742806274</c:v>
                </c:pt>
                <c:pt idx="5">
                  <c:v>0.0012100492434937431</c:v>
                </c:pt>
                <c:pt idx="6">
                  <c:v>0.003893627295887939</c:v>
                </c:pt>
                <c:pt idx="7">
                  <c:v>0.004799968237281767</c:v>
                </c:pt>
                <c:pt idx="8">
                  <c:v>0.0028677249418169446</c:v>
                </c:pt>
                <c:pt idx="9">
                  <c:v>0.000904849447034740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817840100762583</c:v>
                </c:pt>
                <c:pt idx="1">
                  <c:v>0.004710079937720061</c:v>
                </c:pt>
                <c:pt idx="2">
                  <c:v>0.0035365833603226166</c:v>
                </c:pt>
                <c:pt idx="3">
                  <c:v>0.011215191341785913</c:v>
                </c:pt>
                <c:pt idx="4">
                  <c:v>0.017157682031308918</c:v>
                </c:pt>
                <c:pt idx="5">
                  <c:v>0.010345007324616792</c:v>
                </c:pt>
                <c:pt idx="6">
                  <c:v>0.009931055360339294</c:v>
                </c:pt>
                <c:pt idx="7">
                  <c:v>0.020310265934079454</c:v>
                </c:pt>
                <c:pt idx="8">
                  <c:v>0.01935877735368818</c:v>
                </c:pt>
                <c:pt idx="9">
                  <c:v>0.002172927183804752</c:v>
                </c:pt>
                <c:pt idx="10">
                  <c:v>0.001174804828085007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28805964401529397</c:v>
                </c:pt>
                <c:pt idx="3">
                  <c:v>0.003305048724703075</c:v>
                </c:pt>
                <c:pt idx="4">
                  <c:v>0.0017550118633459153</c:v>
                </c:pt>
                <c:pt idx="5">
                  <c:v>0.0021578329734128375</c:v>
                </c:pt>
                <c:pt idx="6">
                  <c:v>0.0018049141207200374</c:v>
                </c:pt>
                <c:pt idx="7">
                  <c:v>0.0053919616428104505</c:v>
                </c:pt>
                <c:pt idx="8">
                  <c:v>0.006402055564658025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499321807132914</c:v>
                </c:pt>
                <c:pt idx="2">
                  <c:v>0.0005661808721516262</c:v>
                </c:pt>
                <c:pt idx="3">
                  <c:v>0.008233353455801668</c:v>
                </c:pt>
                <c:pt idx="4">
                  <c:v>0.003160767975924207</c:v>
                </c:pt>
                <c:pt idx="5">
                  <c:v>0.008278820528877627</c:v>
                </c:pt>
                <c:pt idx="6">
                  <c:v>0.015554706055243884</c:v>
                </c:pt>
                <c:pt idx="7">
                  <c:v>0.03108971543128354</c:v>
                </c:pt>
                <c:pt idx="8">
                  <c:v>0.031262224369488154</c:v>
                </c:pt>
                <c:pt idx="9">
                  <c:v>0.0201649042699784</c:v>
                </c:pt>
                <c:pt idx="10">
                  <c:v>0.00539903477521632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05794220848483699</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641326002405482</c:v>
                </c:pt>
                <c:pt idx="1">
                  <c:v>0.0061713187474905715</c:v>
                </c:pt>
                <c:pt idx="2">
                  <c:v>0.016758228058257527</c:v>
                </c:pt>
                <c:pt idx="3">
                  <c:v>0.013772482577596659</c:v>
                </c:pt>
                <c:pt idx="4">
                  <c:v>0.012019049193768852</c:v>
                </c:pt>
                <c:pt idx="5">
                  <c:v>0.04236039804895471</c:v>
                </c:pt>
                <c:pt idx="6">
                  <c:v>0.05128419903484042</c:v>
                </c:pt>
                <c:pt idx="7">
                  <c:v>0.056442138221051694</c:v>
                </c:pt>
                <c:pt idx="8">
                  <c:v>0.055836186527998155</c:v>
                </c:pt>
                <c:pt idx="9">
                  <c:v>0.06736591564984633</c:v>
                </c:pt>
                <c:pt idx="10">
                  <c:v>0.0159040947757535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895100899713595</c:v>
                </c:pt>
                <c:pt idx="1">
                  <c:v>0.004337846157663012</c:v>
                </c:pt>
                <c:pt idx="2">
                  <c:v>0.003410356471032117</c:v>
                </c:pt>
                <c:pt idx="3">
                  <c:v>0.0036764375034963534</c:v>
                </c:pt>
                <c:pt idx="4">
                  <c:v>0.012088339297398006</c:v>
                </c:pt>
                <c:pt idx="5">
                  <c:v>0.03054474966700302</c:v>
                </c:pt>
                <c:pt idx="6">
                  <c:v>0.02695129815056332</c:v>
                </c:pt>
                <c:pt idx="7">
                  <c:v>0.03765168212342693</c:v>
                </c:pt>
                <c:pt idx="8">
                  <c:v>0.05217987463835769</c:v>
                </c:pt>
                <c:pt idx="9">
                  <c:v>0.03258373342713391</c:v>
                </c:pt>
                <c:pt idx="10">
                  <c:v>0.001178236305298287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2915430566361968</c:v>
                </c:pt>
                <c:pt idx="1">
                  <c:v>0.025515726790348144</c:v>
                </c:pt>
                <c:pt idx="2">
                  <c:v>0.03199740978374033</c:v>
                </c:pt>
                <c:pt idx="3">
                  <c:v>0.0411103752403546</c:v>
                </c:pt>
                <c:pt idx="4">
                  <c:v>0.05793075164029115</c:v>
                </c:pt>
                <c:pt idx="5">
                  <c:v>0.11068370870934567</c:v>
                </c:pt>
                <c:pt idx="6">
                  <c:v>0.13434203264565014</c:v>
                </c:pt>
                <c:pt idx="7">
                  <c:v>0.17805870919511416</c:v>
                </c:pt>
                <c:pt idx="8">
                  <c:v>0.1872343763191081</c:v>
                </c:pt>
                <c:pt idx="9">
                  <c:v>0.136610462129647</c:v>
                </c:pt>
                <c:pt idx="10">
                  <c:v>0.02536890245908493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069135824413645</c:v>
                </c:pt>
                <c:pt idx="1">
                  <c:v>0.0062330638905970254</c:v>
                </c:pt>
                <c:pt idx="2">
                  <c:v>0.005536268127668419</c:v>
                </c:pt>
                <c:pt idx="3">
                  <c:v>0.003436886079237287</c:v>
                </c:pt>
                <c:pt idx="4">
                  <c:v>0.009653903524515712</c:v>
                </c:pt>
                <c:pt idx="5">
                  <c:v>0.01146692879949864</c:v>
                </c:pt>
                <c:pt idx="6">
                  <c:v>0.02459410064040544</c:v>
                </c:pt>
                <c:pt idx="7">
                  <c:v>0.030474623140803125</c:v>
                </c:pt>
                <c:pt idx="8">
                  <c:v>0.026328978311202435</c:v>
                </c:pt>
                <c:pt idx="9">
                  <c:v>0.013911774816376721</c:v>
                </c:pt>
                <c:pt idx="10">
                  <c:v>0.001712731774731790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28805964401529397</c:v>
                </c:pt>
                <c:pt idx="3">
                  <c:v>0.003305048724703075</c:v>
                </c:pt>
                <c:pt idx="4">
                  <c:v>0.0017550118633459153</c:v>
                </c:pt>
                <c:pt idx="5">
                  <c:v>0.0021578329734128375</c:v>
                </c:pt>
                <c:pt idx="6">
                  <c:v>0.0023843362055684073</c:v>
                </c:pt>
                <c:pt idx="7">
                  <c:v>0.0057335995141645935</c:v>
                </c:pt>
                <c:pt idx="8">
                  <c:v>0.00679725021661843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09235126133814</c:v>
                </c:pt>
                <c:pt idx="2">
                  <c:v>0.0009487311751175447</c:v>
                </c:pt>
                <c:pt idx="3">
                  <c:v>0.012090806667888901</c:v>
                </c:pt>
                <c:pt idx="4">
                  <c:v>0.005961870660159417</c:v>
                </c:pt>
                <c:pt idx="5">
                  <c:v>0.0059059535618829345</c:v>
                </c:pt>
                <c:pt idx="6">
                  <c:v>0.0009476292518093077</c:v>
                </c:pt>
                <c:pt idx="7">
                  <c:v>0.012335560363497942</c:v>
                </c:pt>
                <c:pt idx="8">
                  <c:v>0.009065517547248523</c:v>
                </c:pt>
                <c:pt idx="9">
                  <c:v>0.00441868491794730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09235126133814</c:v>
                </c:pt>
                <c:pt idx="5">
                  <c:v>0.0028101193110492283</c:v>
                </c:pt>
                <c:pt idx="7">
                  <c:v>0.0034916726512351105</c:v>
                </c:pt>
                <c:pt idx="8">
                  <c:v>0.00331968721609376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6022608672909435</c:v>
                </c:pt>
                <c:pt idx="4">
                  <c:v>0.001962340839815808</c:v>
                </c:pt>
                <c:pt idx="5">
                  <c:v>0.007766338947604122</c:v>
                </c:pt>
                <c:pt idx="6">
                  <c:v>0.008787449955223209</c:v>
                </c:pt>
                <c:pt idx="7">
                  <c:v>0.008580211238643092</c:v>
                </c:pt>
                <c:pt idx="8">
                  <c:v>0.02312423803208464</c:v>
                </c:pt>
                <c:pt idx="9">
                  <c:v>0.007176267280468069</c:v>
                </c:pt>
                <c:pt idx="10">
                  <c:v>0.00673951446763182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24823113692075</c:v>
                </c:pt>
                <c:pt idx="1">
                  <c:v>0.0009905849771726532</c:v>
                </c:pt>
                <c:pt idx="2">
                  <c:v>0.0036198593896823103</c:v>
                </c:pt>
                <c:pt idx="3">
                  <c:v>0.013994257971304259</c:v>
                </c:pt>
                <c:pt idx="4">
                  <c:v>0.004026455316380378</c:v>
                </c:pt>
                <c:pt idx="5">
                  <c:v>0.0178954246075381</c:v>
                </c:pt>
                <c:pt idx="6">
                  <c:v>0.017917160044793073</c:v>
                </c:pt>
                <c:pt idx="7">
                  <c:v>0.030480270326250208</c:v>
                </c:pt>
                <c:pt idx="8">
                  <c:v>0.02256106155809438</c:v>
                </c:pt>
                <c:pt idx="9">
                  <c:v>0.019422811524318365</c:v>
                </c:pt>
                <c:pt idx="10">
                  <c:v>0.0207455051673605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031836619340219</c:v>
                </c:pt>
                <c:pt idx="2">
                  <c:v>0.001591815096428842</c:v>
                </c:pt>
                <c:pt idx="3">
                  <c:v>0.006435589675724803</c:v>
                </c:pt>
                <c:pt idx="4">
                  <c:v>0.0140854118527152</c:v>
                </c:pt>
                <c:pt idx="5">
                  <c:v>0.0036704796011847963</c:v>
                </c:pt>
                <c:pt idx="6">
                  <c:v>0.003448342923783125</c:v>
                </c:pt>
                <c:pt idx="7">
                  <c:v>0.0050893010632526514</c:v>
                </c:pt>
                <c:pt idx="8">
                  <c:v>0.00796461302849714</c:v>
                </c:pt>
                <c:pt idx="9">
                  <c:v>0.000682220563465201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721160111250067</c:v>
                </c:pt>
                <c:pt idx="3">
                  <c:v>0.0018995807977951749</c:v>
                </c:pt>
                <c:pt idx="4">
                  <c:v>0.008332206869274753</c:v>
                </c:pt>
                <c:pt idx="5">
                  <c:v>0.018047115370149993</c:v>
                </c:pt>
                <c:pt idx="6">
                  <c:v>0.010964844902682803</c:v>
                </c:pt>
                <c:pt idx="7">
                  <c:v>0.02406857253320232</c:v>
                </c:pt>
                <c:pt idx="8">
                  <c:v>0.022811244980804758</c:v>
                </c:pt>
                <c:pt idx="9">
                  <c:v>0.016724325308818348</c:v>
                </c:pt>
                <c:pt idx="10">
                  <c:v>0.0048777351489257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9942158144732938</c:v>
                </c:pt>
                <c:pt idx="1">
                  <c:v>0.000663514855630044</c:v>
                </c:pt>
                <c:pt idx="2">
                  <c:v>0.0014191174421294465</c:v>
                </c:pt>
                <c:pt idx="3">
                  <c:v>0.0005783582223694955</c:v>
                </c:pt>
                <c:pt idx="4">
                  <c:v>0.003897665274921918</c:v>
                </c:pt>
                <c:pt idx="5">
                  <c:v>0.00654226468584088</c:v>
                </c:pt>
                <c:pt idx="6">
                  <c:v>0.015170624463437385</c:v>
                </c:pt>
                <c:pt idx="7">
                  <c:v>0.010642394594609977</c:v>
                </c:pt>
                <c:pt idx="8">
                  <c:v>0.02378567851708693</c:v>
                </c:pt>
                <c:pt idx="9">
                  <c:v>0.00582166744803589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354170082341963</c:v>
                </c:pt>
                <c:pt idx="3">
                  <c:v>0.0006130825806203111</c:v>
                </c:pt>
                <c:pt idx="4">
                  <c:v>0.0017835262349716633</c:v>
                </c:pt>
                <c:pt idx="5">
                  <c:v>0.003462617688405174</c:v>
                </c:pt>
                <c:pt idx="6">
                  <c:v>0.002544431827391956</c:v>
                </c:pt>
                <c:pt idx="7">
                  <c:v>0.0033868659705804274</c:v>
                </c:pt>
                <c:pt idx="8">
                  <c:v>0.0006567242532430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82909441113341</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7581786218338685</c:v>
                </c:pt>
                <c:pt idx="1">
                  <c:v>0.001992849069955839</c:v>
                </c:pt>
                <c:pt idx="2">
                  <c:v>0.0030580803227980777</c:v>
                </c:pt>
                <c:pt idx="3">
                  <c:v>0.0072066393740060075</c:v>
                </c:pt>
                <c:pt idx="4">
                  <c:v>0.01467372591163547</c:v>
                </c:pt>
                <c:pt idx="5">
                  <c:v>0.010793022082781356</c:v>
                </c:pt>
                <c:pt idx="6">
                  <c:v>0.006098230854863561</c:v>
                </c:pt>
                <c:pt idx="7">
                  <c:v>0.024706484426662102</c:v>
                </c:pt>
                <c:pt idx="8">
                  <c:v>0.014741854825284728</c:v>
                </c:pt>
                <c:pt idx="9">
                  <c:v>0.003807565340646541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6256983980039187</c:v>
                </c:pt>
                <c:pt idx="4">
                  <c:v>0.003485368750144261</c:v>
                </c:pt>
                <c:pt idx="5">
                  <c:v>0.0036785679830550586</c:v>
                </c:pt>
                <c:pt idx="6">
                  <c:v>0.0020019274203202445</c:v>
                </c:pt>
                <c:pt idx="7">
                  <c:v>0.006249266439480174</c:v>
                </c:pt>
                <c:pt idx="8">
                  <c:v>0.001583309035379657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4288275396457098</c:v>
                </c:pt>
                <c:pt idx="2">
                  <c:v>0.0008711224294308466</c:v>
                </c:pt>
                <c:pt idx="3">
                  <c:v>0.00658809637792864</c:v>
                </c:pt>
                <c:pt idx="4">
                  <c:v>0.002724947190615666</c:v>
                </c:pt>
                <c:pt idx="5">
                  <c:v>0.0024211355111822316</c:v>
                </c:pt>
                <c:pt idx="6">
                  <c:v>0.020525051383394794</c:v>
                </c:pt>
                <c:pt idx="7">
                  <c:v>0.01640976032842305</c:v>
                </c:pt>
                <c:pt idx="8">
                  <c:v>0.034463408809668514</c:v>
                </c:pt>
                <c:pt idx="9">
                  <c:v>0.016358597650737352</c:v>
                </c:pt>
                <c:pt idx="10">
                  <c:v>0.01181995170846846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7990926397190873</c:v>
                </c:pt>
                <c:pt idx="1">
                  <c:v>0.0048050304757647055</c:v>
                </c:pt>
                <c:pt idx="2">
                  <c:v>0.005317906883030675</c:v>
                </c:pt>
                <c:pt idx="3">
                  <c:v>0.012028006069154516</c:v>
                </c:pt>
                <c:pt idx="4">
                  <c:v>0.021065989210250234</c:v>
                </c:pt>
                <c:pt idx="5">
                  <c:v>0.02675046626639583</c:v>
                </c:pt>
                <c:pt idx="6">
                  <c:v>0.03154260513355025</c:v>
                </c:pt>
                <c:pt idx="7">
                  <c:v>0.05534984914623596</c:v>
                </c:pt>
                <c:pt idx="8">
                  <c:v>0.05727596067042765</c:v>
                </c:pt>
                <c:pt idx="9">
                  <c:v>0.014508220101013686</c:v>
                </c:pt>
                <c:pt idx="10">
                  <c:v>0.0618312991262864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695888067928161</c:v>
                </c:pt>
                <c:pt idx="1">
                  <c:v>0.0034656730925070097</c:v>
                </c:pt>
                <c:pt idx="2">
                  <c:v>0.0021369499209917923</c:v>
                </c:pt>
                <c:pt idx="3">
                  <c:v>0.002690892486369671</c:v>
                </c:pt>
                <c:pt idx="4">
                  <c:v>0.005248974356901978</c:v>
                </c:pt>
                <c:pt idx="5">
                  <c:v>0.028455367851496154</c:v>
                </c:pt>
                <c:pt idx="6">
                  <c:v>0.025958632301259135</c:v>
                </c:pt>
                <c:pt idx="7">
                  <c:v>0.02984550886221664</c:v>
                </c:pt>
                <c:pt idx="8">
                  <c:v>0.050434260188217055</c:v>
                </c:pt>
                <c:pt idx="9">
                  <c:v>0.03561938065480882</c:v>
                </c:pt>
                <c:pt idx="10">
                  <c:v>0.00393957234400446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73250184880771</c:v>
                </c:pt>
                <c:pt idx="1">
                  <c:v>0.0030732559853244392</c:v>
                </c:pt>
                <c:pt idx="2">
                  <c:v>0.005558985425487071</c:v>
                </c:pt>
                <c:pt idx="3">
                  <c:v>0.0027083437505772915</c:v>
                </c:pt>
                <c:pt idx="4">
                  <c:v>0.006581826120038908</c:v>
                </c:pt>
                <c:pt idx="5">
                  <c:v>0.009499445254147228</c:v>
                </c:pt>
                <c:pt idx="6">
                  <c:v>0.01897797577832796</c:v>
                </c:pt>
                <c:pt idx="7">
                  <c:v>0.021577664099828496</c:v>
                </c:pt>
                <c:pt idx="8">
                  <c:v>0.04843607645774844</c:v>
                </c:pt>
                <c:pt idx="9">
                  <c:v>0.0093626958968855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1167560762812138</c:v>
                </c:pt>
                <c:pt idx="1">
                  <c:v>0.0020144750879907062</c:v>
                </c:pt>
                <c:pt idx="2">
                  <c:v>0.000524791457669042</c:v>
                </c:pt>
                <c:pt idx="3">
                  <c:v>0.0010236319537650063</c:v>
                </c:pt>
                <c:pt idx="4">
                  <c:v>0.001866257348427401</c:v>
                </c:pt>
                <c:pt idx="5">
                  <c:v>0.005717263274997268</c:v>
                </c:pt>
                <c:pt idx="6">
                  <c:v>0.009401939623136735</c:v>
                </c:pt>
                <c:pt idx="7">
                  <c:v>0.003152825974055159</c:v>
                </c:pt>
                <c:pt idx="8">
                  <c:v>0.001041934943173327</c:v>
                </c:pt>
                <c:pt idx="9">
                  <c:v>0.000642624063240359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3820749780182892</c:v>
                </c:pt>
                <c:pt idx="3">
                  <c:v>0.000507040464211404</c:v>
                </c:pt>
                <c:pt idx="4">
                  <c:v>0.0019637434742806274</c:v>
                </c:pt>
                <c:pt idx="5">
                  <c:v>0.0012100492434937431</c:v>
                </c:pt>
                <c:pt idx="6">
                  <c:v>0.003893627295887939</c:v>
                </c:pt>
                <c:pt idx="7">
                  <c:v>0.004799968237281767</c:v>
                </c:pt>
                <c:pt idx="8">
                  <c:v>0.0028677249418169446</c:v>
                </c:pt>
                <c:pt idx="9">
                  <c:v>0.000904849447034740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817840100762583</c:v>
                </c:pt>
                <c:pt idx="1">
                  <c:v>0.004710079937720061</c:v>
                </c:pt>
                <c:pt idx="2">
                  <c:v>0.0035365833603226166</c:v>
                </c:pt>
                <c:pt idx="3">
                  <c:v>0.011215191341785913</c:v>
                </c:pt>
                <c:pt idx="4">
                  <c:v>0.017157682031308918</c:v>
                </c:pt>
                <c:pt idx="5">
                  <c:v>0.010345007324616792</c:v>
                </c:pt>
                <c:pt idx="6">
                  <c:v>0.009931055360339294</c:v>
                </c:pt>
                <c:pt idx="7">
                  <c:v>0.020310265934079454</c:v>
                </c:pt>
                <c:pt idx="8">
                  <c:v>0.01935877735368818</c:v>
                </c:pt>
                <c:pt idx="9">
                  <c:v>0.002172927183804752</c:v>
                </c:pt>
                <c:pt idx="10">
                  <c:v>0.001174804828085007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6981271760873598</c:v>
                </c:pt>
                <c:pt idx="4">
                  <c:v>0.007599096365085087</c:v>
                </c:pt>
                <c:pt idx="5">
                  <c:v>0.003592422073275713</c:v>
                </c:pt>
                <c:pt idx="6">
                  <c:v>0.0032777212980458176</c:v>
                </c:pt>
                <c:pt idx="7">
                  <c:v>0.004155694768489085</c:v>
                </c:pt>
                <c:pt idx="8">
                  <c:v>0.0018617436727184685</c:v>
                </c:pt>
                <c:pt idx="9">
                  <c:v>0.001441070302449457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499321807132914</c:v>
                </c:pt>
                <c:pt idx="2">
                  <c:v>0.0005661808721516262</c:v>
                </c:pt>
                <c:pt idx="3">
                  <c:v>0.008233353455801668</c:v>
                </c:pt>
                <c:pt idx="4">
                  <c:v>0.003160767975924207</c:v>
                </c:pt>
                <c:pt idx="5">
                  <c:v>0.008278820528877627</c:v>
                </c:pt>
                <c:pt idx="6">
                  <c:v>0.015554706055243884</c:v>
                </c:pt>
                <c:pt idx="7">
                  <c:v>0.03108971543128354</c:v>
                </c:pt>
                <c:pt idx="8">
                  <c:v>0.031262224369488154</c:v>
                </c:pt>
                <c:pt idx="9">
                  <c:v>0.0201649042699784</c:v>
                </c:pt>
                <c:pt idx="10">
                  <c:v>0.00539903477521632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641326002405482</c:v>
                </c:pt>
                <c:pt idx="1">
                  <c:v>0.0061713187474905715</c:v>
                </c:pt>
                <c:pt idx="2">
                  <c:v>0.016758228058257527</c:v>
                </c:pt>
                <c:pt idx="3">
                  <c:v>0.013772482577596659</c:v>
                </c:pt>
                <c:pt idx="4">
                  <c:v>0.012019049193768852</c:v>
                </c:pt>
                <c:pt idx="5">
                  <c:v>0.04236039804895471</c:v>
                </c:pt>
                <c:pt idx="6">
                  <c:v>0.05128419903484042</c:v>
                </c:pt>
                <c:pt idx="7">
                  <c:v>0.056442138221051694</c:v>
                </c:pt>
                <c:pt idx="8">
                  <c:v>0.055836186527998155</c:v>
                </c:pt>
                <c:pt idx="9">
                  <c:v>0.06736591564984633</c:v>
                </c:pt>
                <c:pt idx="10">
                  <c:v>0.0159040947757535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895100899713595</c:v>
                </c:pt>
                <c:pt idx="1">
                  <c:v>0.004337846157663012</c:v>
                </c:pt>
                <c:pt idx="2">
                  <c:v>0.003410356471032117</c:v>
                </c:pt>
                <c:pt idx="3">
                  <c:v>0.0036764375034963534</c:v>
                </c:pt>
                <c:pt idx="4">
                  <c:v>0.012088339297398006</c:v>
                </c:pt>
                <c:pt idx="5">
                  <c:v>0.03054474966700302</c:v>
                </c:pt>
                <c:pt idx="6">
                  <c:v>0.02695129815056332</c:v>
                </c:pt>
                <c:pt idx="7">
                  <c:v>0.03765168212342693</c:v>
                </c:pt>
                <c:pt idx="8">
                  <c:v>0.05217987463835769</c:v>
                </c:pt>
                <c:pt idx="9">
                  <c:v>0.03258373342713391</c:v>
                </c:pt>
                <c:pt idx="10">
                  <c:v>0.001178236305298287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069135824413645</c:v>
                </c:pt>
                <c:pt idx="1">
                  <c:v>0.0062330638905970254</c:v>
                </c:pt>
                <c:pt idx="2">
                  <c:v>0.005536268127668419</c:v>
                </c:pt>
                <c:pt idx="3">
                  <c:v>0.003436886079237287</c:v>
                </c:pt>
                <c:pt idx="4">
                  <c:v>0.009653903524515712</c:v>
                </c:pt>
                <c:pt idx="5">
                  <c:v>0.01146692879949864</c:v>
                </c:pt>
                <c:pt idx="6">
                  <c:v>0.02459410064040544</c:v>
                </c:pt>
                <c:pt idx="7">
                  <c:v>0.030474623140803125</c:v>
                </c:pt>
                <c:pt idx="8">
                  <c:v>0.026328978311202435</c:v>
                </c:pt>
                <c:pt idx="9">
                  <c:v>0.013911774816376721</c:v>
                </c:pt>
                <c:pt idx="10">
                  <c:v>0.001712731774731790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1178620882667</c:v>
                </c:pt>
                <c:pt idx="1">
                  <c:v>0.01678011125118841</c:v>
                </c:pt>
                <c:pt idx="2">
                  <c:v>0.017467836439407504</c:v>
                </c:pt>
                <c:pt idx="3">
                  <c:v>0.03224561001180113</c:v>
                </c:pt>
                <c:pt idx="4">
                  <c:v>0.052161720137869655</c:v>
                </c:pt>
                <c:pt idx="5">
                  <c:v>0.08363670024100006</c:v>
                </c:pt>
                <c:pt idx="6">
                  <c:v>0.11250443507453244</c:v>
                </c:pt>
                <c:pt idx="7">
                  <c:v>0.1510420928374214</c:v>
                </c:pt>
                <c:pt idx="8">
                  <c:v>0.20639349589451972</c:v>
                </c:pt>
                <c:pt idx="9">
                  <c:v>0.08029908370733231</c:v>
                </c:pt>
                <c:pt idx="10">
                  <c:v>0.0783216586655720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09235126133814</c:v>
                </c:pt>
                <c:pt idx="2">
                  <c:v>0.0009487311751175447</c:v>
                </c:pt>
                <c:pt idx="3">
                  <c:v>0.012090806667888901</c:v>
                </c:pt>
                <c:pt idx="4">
                  <c:v>0.005961870660159417</c:v>
                </c:pt>
                <c:pt idx="5">
                  <c:v>0.0059059535618829345</c:v>
                </c:pt>
                <c:pt idx="6">
                  <c:v>0.0009476292518093077</c:v>
                </c:pt>
                <c:pt idx="7">
                  <c:v>0.012335560363497942</c:v>
                </c:pt>
                <c:pt idx="8">
                  <c:v>0.009065517547248523</c:v>
                </c:pt>
                <c:pt idx="9">
                  <c:v>0.00441868491794730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5177359115668418</c:v>
                </c:pt>
                <c:pt idx="3">
                  <c:v>0.004219779496385732</c:v>
                </c:pt>
                <c:pt idx="4">
                  <c:v>0.004835302837133787</c:v>
                </c:pt>
                <c:pt idx="6">
                  <c:v>0.0005331352897994527</c:v>
                </c:pt>
                <c:pt idx="7">
                  <c:v>0.00521916608598292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6022608672909435</c:v>
                </c:pt>
                <c:pt idx="4">
                  <c:v>0.001962340839815808</c:v>
                </c:pt>
                <c:pt idx="5">
                  <c:v>0.007766338947604122</c:v>
                </c:pt>
                <c:pt idx="6">
                  <c:v>0.008787449955223209</c:v>
                </c:pt>
                <c:pt idx="7">
                  <c:v>0.008580211238643092</c:v>
                </c:pt>
                <c:pt idx="8">
                  <c:v>0.02312423803208464</c:v>
                </c:pt>
                <c:pt idx="9">
                  <c:v>0.007176267280468069</c:v>
                </c:pt>
                <c:pt idx="10">
                  <c:v>0.00673951446763182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24823113692075</c:v>
                </c:pt>
                <c:pt idx="1">
                  <c:v>0.0009905849771726532</c:v>
                </c:pt>
                <c:pt idx="2">
                  <c:v>0.0036198593896823103</c:v>
                </c:pt>
                <c:pt idx="3">
                  <c:v>0.013994257971304259</c:v>
                </c:pt>
                <c:pt idx="4">
                  <c:v>0.004026455316380378</c:v>
                </c:pt>
                <c:pt idx="5">
                  <c:v>0.0178954246075381</c:v>
                </c:pt>
                <c:pt idx="6">
                  <c:v>0.017917160044793073</c:v>
                </c:pt>
                <c:pt idx="7">
                  <c:v>0.030480270326250208</c:v>
                </c:pt>
                <c:pt idx="8">
                  <c:v>0.02256106155809438</c:v>
                </c:pt>
                <c:pt idx="9">
                  <c:v>0.019422811524318365</c:v>
                </c:pt>
                <c:pt idx="10">
                  <c:v>0.0207455051673605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721160111250067</c:v>
                </c:pt>
                <c:pt idx="3">
                  <c:v>0.0018995807977951749</c:v>
                </c:pt>
                <c:pt idx="4">
                  <c:v>0.008332206869274753</c:v>
                </c:pt>
                <c:pt idx="5">
                  <c:v>0.018047115370149993</c:v>
                </c:pt>
                <c:pt idx="6">
                  <c:v>0.010964844902682803</c:v>
                </c:pt>
                <c:pt idx="7">
                  <c:v>0.02406857253320232</c:v>
                </c:pt>
                <c:pt idx="8">
                  <c:v>0.022811244980804758</c:v>
                </c:pt>
                <c:pt idx="9">
                  <c:v>0.016724325308818348</c:v>
                </c:pt>
                <c:pt idx="10">
                  <c:v>0.0048777351489257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9942158144732938</c:v>
                </c:pt>
                <c:pt idx="1">
                  <c:v>0.000663514855630044</c:v>
                </c:pt>
                <c:pt idx="2">
                  <c:v>0.0014191174421294465</c:v>
                </c:pt>
                <c:pt idx="3">
                  <c:v>0.0005783582223694955</c:v>
                </c:pt>
                <c:pt idx="4">
                  <c:v>0.003897665274921918</c:v>
                </c:pt>
                <c:pt idx="5">
                  <c:v>0.00654226468584088</c:v>
                </c:pt>
                <c:pt idx="6">
                  <c:v>0.015170624463437385</c:v>
                </c:pt>
                <c:pt idx="7">
                  <c:v>0.010642394594609977</c:v>
                </c:pt>
                <c:pt idx="8">
                  <c:v>0.02378567851708693</c:v>
                </c:pt>
                <c:pt idx="9">
                  <c:v>0.00582166744803589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354170082341963</c:v>
                </c:pt>
                <c:pt idx="3">
                  <c:v>0.0006130825806203111</c:v>
                </c:pt>
                <c:pt idx="4">
                  <c:v>0.0017835262349716633</c:v>
                </c:pt>
                <c:pt idx="5">
                  <c:v>0.003462617688405174</c:v>
                </c:pt>
                <c:pt idx="6">
                  <c:v>0.002544431827391956</c:v>
                </c:pt>
                <c:pt idx="7">
                  <c:v>0.0033868659705804274</c:v>
                </c:pt>
                <c:pt idx="8">
                  <c:v>0.0006567242532430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82909441113341</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7581786218338685</c:v>
                </c:pt>
                <c:pt idx="1">
                  <c:v>0.001992849069955839</c:v>
                </c:pt>
                <c:pt idx="2">
                  <c:v>0.0030580803227980777</c:v>
                </c:pt>
                <c:pt idx="3">
                  <c:v>0.0072066393740060075</c:v>
                </c:pt>
                <c:pt idx="4">
                  <c:v>0.01467372591163547</c:v>
                </c:pt>
                <c:pt idx="5">
                  <c:v>0.010793022082781356</c:v>
                </c:pt>
                <c:pt idx="6">
                  <c:v>0.006098230854863561</c:v>
                </c:pt>
                <c:pt idx="7">
                  <c:v>0.024706484426662102</c:v>
                </c:pt>
                <c:pt idx="8">
                  <c:v>0.014741854825284728</c:v>
                </c:pt>
                <c:pt idx="9">
                  <c:v>0.003807565340646541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4288275396457098</c:v>
                </c:pt>
                <c:pt idx="2">
                  <c:v>0.0008711224294308466</c:v>
                </c:pt>
                <c:pt idx="3">
                  <c:v>0.00658809637792864</c:v>
                </c:pt>
                <c:pt idx="4">
                  <c:v>0.002724947190615666</c:v>
                </c:pt>
                <c:pt idx="5">
                  <c:v>0.0024211355111822316</c:v>
                </c:pt>
                <c:pt idx="6">
                  <c:v>0.020525051383394794</c:v>
                </c:pt>
                <c:pt idx="7">
                  <c:v>0.01640976032842305</c:v>
                </c:pt>
                <c:pt idx="8">
                  <c:v>0.034463408809668514</c:v>
                </c:pt>
                <c:pt idx="9">
                  <c:v>0.016358597650737352</c:v>
                </c:pt>
                <c:pt idx="10">
                  <c:v>0.01181995170846846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0747512253238946</c:v>
                </c:pt>
                <c:pt idx="7">
                  <c:v>0.0034206968005347895</c:v>
                </c:pt>
                <c:pt idx="8">
                  <c:v>0.0043071119234356055</c:v>
                </c:pt>
                <c:pt idx="9">
                  <c:v>0.0006920137221304047</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7990926397190873</c:v>
                </c:pt>
                <c:pt idx="1">
                  <c:v>0.0048050304757647055</c:v>
                </c:pt>
                <c:pt idx="2">
                  <c:v>0.005317906883030675</c:v>
                </c:pt>
                <c:pt idx="3">
                  <c:v>0.012028006069154516</c:v>
                </c:pt>
                <c:pt idx="4">
                  <c:v>0.021065989210250234</c:v>
                </c:pt>
                <c:pt idx="5">
                  <c:v>0.02675046626639583</c:v>
                </c:pt>
                <c:pt idx="6">
                  <c:v>0.03154260513355025</c:v>
                </c:pt>
                <c:pt idx="7">
                  <c:v>0.05534984914623596</c:v>
                </c:pt>
                <c:pt idx="8">
                  <c:v>0.05727596067042765</c:v>
                </c:pt>
                <c:pt idx="9">
                  <c:v>0.014508220101013686</c:v>
                </c:pt>
                <c:pt idx="10">
                  <c:v>0.0618312991262864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27075622439427563</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695888067928161</c:v>
                </c:pt>
                <c:pt idx="1">
                  <c:v>0.0034656730925070097</c:v>
                </c:pt>
                <c:pt idx="2">
                  <c:v>0.0021369499209917923</c:v>
                </c:pt>
                <c:pt idx="3">
                  <c:v>0.002690892486369671</c:v>
                </c:pt>
                <c:pt idx="4">
                  <c:v>0.005248974356901978</c:v>
                </c:pt>
                <c:pt idx="5">
                  <c:v>0.028455367851496154</c:v>
                </c:pt>
                <c:pt idx="6">
                  <c:v>0.025958632301259135</c:v>
                </c:pt>
                <c:pt idx="7">
                  <c:v>0.02984550886221664</c:v>
                </c:pt>
                <c:pt idx="8">
                  <c:v>0.050434260188217055</c:v>
                </c:pt>
                <c:pt idx="9">
                  <c:v>0.03561938065480882</c:v>
                </c:pt>
                <c:pt idx="10">
                  <c:v>0.00393957234400446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8995605637284275</c:v>
                </c:pt>
                <c:pt idx="1">
                  <c:v>0.005738452954606113</c:v>
                </c:pt>
                <c:pt idx="2">
                  <c:v>0.006830274380914761</c:v>
                </c:pt>
                <c:pt idx="3">
                  <c:v>0.035198694912887574</c:v>
                </c:pt>
                <c:pt idx="4">
                  <c:v>0.025964065195523935</c:v>
                </c:pt>
                <c:pt idx="5">
                  <c:v>0.0596197148614212</c:v>
                </c:pt>
                <c:pt idx="6">
                  <c:v>0.056332140445337735</c:v>
                </c:pt>
                <c:pt idx="7">
                  <c:v>0.08949387502678396</c:v>
                </c:pt>
                <c:pt idx="8">
                  <c:v>0.10200446488856227</c:v>
                </c:pt>
                <c:pt idx="9">
                  <c:v>0.05403571298731412</c:v>
                </c:pt>
                <c:pt idx="10">
                  <c:v>0.03238516514919935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73250184880771</c:v>
                </c:pt>
                <c:pt idx="1">
                  <c:v>0.0030732559853244392</c:v>
                </c:pt>
                <c:pt idx="2">
                  <c:v>0.005558985425487071</c:v>
                </c:pt>
                <c:pt idx="3">
                  <c:v>0.0027083437505772915</c:v>
                </c:pt>
                <c:pt idx="4">
                  <c:v>0.006581826120038908</c:v>
                </c:pt>
                <c:pt idx="5">
                  <c:v>0.009499445254147228</c:v>
                </c:pt>
                <c:pt idx="6">
                  <c:v>0.01897797577832796</c:v>
                </c:pt>
                <c:pt idx="7">
                  <c:v>0.021577664099828496</c:v>
                </c:pt>
                <c:pt idx="8">
                  <c:v>0.04843607645774844</c:v>
                </c:pt>
                <c:pt idx="9">
                  <c:v>0.00936269589688556</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1167560762812138</c:v>
                </c:pt>
                <c:pt idx="1">
                  <c:v>0.0020144750879907062</c:v>
                </c:pt>
                <c:pt idx="2">
                  <c:v>0.000524791457669042</c:v>
                </c:pt>
                <c:pt idx="3">
                  <c:v>0.0010236319537650063</c:v>
                </c:pt>
                <c:pt idx="4">
                  <c:v>0.001866257348427401</c:v>
                </c:pt>
                <c:pt idx="5">
                  <c:v>0.005717263274997268</c:v>
                </c:pt>
                <c:pt idx="6">
                  <c:v>0.009401939623136735</c:v>
                </c:pt>
                <c:pt idx="7">
                  <c:v>0.003152825974055159</c:v>
                </c:pt>
                <c:pt idx="8">
                  <c:v>0.001041934943173327</c:v>
                </c:pt>
                <c:pt idx="9">
                  <c:v>0.000642624063240359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3820749780182892</c:v>
                </c:pt>
                <c:pt idx="3">
                  <c:v>0.000507040464211404</c:v>
                </c:pt>
                <c:pt idx="4">
                  <c:v>0.0019637434742806274</c:v>
                </c:pt>
                <c:pt idx="5">
                  <c:v>0.0012100492434937431</c:v>
                </c:pt>
                <c:pt idx="6">
                  <c:v>0.003893627295887939</c:v>
                </c:pt>
                <c:pt idx="7">
                  <c:v>0.004799968237281767</c:v>
                </c:pt>
                <c:pt idx="8">
                  <c:v>0.0028677249418169446</c:v>
                </c:pt>
                <c:pt idx="9">
                  <c:v>0.000904849447034740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09235126133814</c:v>
                </c:pt>
                <c:pt idx="5">
                  <c:v>0.0028101193110492283</c:v>
                </c:pt>
                <c:pt idx="7">
                  <c:v>0.0035370553626848478</c:v>
                </c:pt>
                <c:pt idx="8">
                  <c:v>0.003752219662659457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817840100762583</c:v>
                </c:pt>
                <c:pt idx="1">
                  <c:v>0.004710079937720061</c:v>
                </c:pt>
                <c:pt idx="2">
                  <c:v>0.0035365833603226166</c:v>
                </c:pt>
                <c:pt idx="3">
                  <c:v>0.011215191341785913</c:v>
                </c:pt>
                <c:pt idx="4">
                  <c:v>0.017157682031308918</c:v>
                </c:pt>
                <c:pt idx="5">
                  <c:v>0.010345007324616792</c:v>
                </c:pt>
                <c:pt idx="6">
                  <c:v>0.009931055360339294</c:v>
                </c:pt>
                <c:pt idx="7">
                  <c:v>0.020310265934079454</c:v>
                </c:pt>
                <c:pt idx="8">
                  <c:v>0.01935877735368818</c:v>
                </c:pt>
                <c:pt idx="9">
                  <c:v>0.002172927183804752</c:v>
                </c:pt>
                <c:pt idx="10">
                  <c:v>0.001174804828085007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499321807132914</c:v>
                </c:pt>
                <c:pt idx="2">
                  <c:v>0.0005661808721516262</c:v>
                </c:pt>
                <c:pt idx="3">
                  <c:v>0.008233353455801668</c:v>
                </c:pt>
                <c:pt idx="4">
                  <c:v>0.003160767975924207</c:v>
                </c:pt>
                <c:pt idx="5">
                  <c:v>0.008278820528877627</c:v>
                </c:pt>
                <c:pt idx="6">
                  <c:v>0.015554706055243884</c:v>
                </c:pt>
                <c:pt idx="7">
                  <c:v>0.03108971543128354</c:v>
                </c:pt>
                <c:pt idx="8">
                  <c:v>0.031262224369488154</c:v>
                </c:pt>
                <c:pt idx="9">
                  <c:v>0.0201649042699784</c:v>
                </c:pt>
                <c:pt idx="10">
                  <c:v>0.00539903477521632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21529431183839134</c:v>
                </c:pt>
                <c:pt idx="7">
                  <c:v>0.005036584994563639</c:v>
                </c:pt>
                <c:pt idx="8">
                  <c:v>0.004385792473025565</c:v>
                </c:pt>
                <c:pt idx="9">
                  <c:v>0.00108807853086587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641326002405482</c:v>
                </c:pt>
                <c:pt idx="1">
                  <c:v>0.0061713187474905715</c:v>
                </c:pt>
                <c:pt idx="2">
                  <c:v>0.016758228058257527</c:v>
                </c:pt>
                <c:pt idx="3">
                  <c:v>0.013772482577596659</c:v>
                </c:pt>
                <c:pt idx="4">
                  <c:v>0.012019049193768852</c:v>
                </c:pt>
                <c:pt idx="5">
                  <c:v>0.04236039804895471</c:v>
                </c:pt>
                <c:pt idx="6">
                  <c:v>0.05128419903484042</c:v>
                </c:pt>
                <c:pt idx="7">
                  <c:v>0.056442138221051694</c:v>
                </c:pt>
                <c:pt idx="8">
                  <c:v>0.055836186527998155</c:v>
                </c:pt>
                <c:pt idx="9">
                  <c:v>0.06736591564984633</c:v>
                </c:pt>
                <c:pt idx="10">
                  <c:v>0.0159040947757535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0492971039204782</c:v>
                </c:pt>
                <c:pt idx="4">
                  <c:v>0.0029732480376006205</c:v>
                </c:pt>
                <c:pt idx="5">
                  <c:v>0.0031020353242508093</c:v>
                </c:pt>
                <c:pt idx="7">
                  <c:v>0.005079593724953369</c:v>
                </c:pt>
                <c:pt idx="8">
                  <c:v>0.005550999271025390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14235997940873469</c:v>
                </c:pt>
                <c:pt idx="8">
                  <c:v>0.00410665466976479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895100899713595</c:v>
                </c:pt>
                <c:pt idx="1">
                  <c:v>0.004337846157663012</c:v>
                </c:pt>
                <c:pt idx="2">
                  <c:v>0.003410356471032117</c:v>
                </c:pt>
                <c:pt idx="3">
                  <c:v>0.0036764375034963534</c:v>
                </c:pt>
                <c:pt idx="4">
                  <c:v>0.012088339297398006</c:v>
                </c:pt>
                <c:pt idx="5">
                  <c:v>0.03054474966700302</c:v>
                </c:pt>
                <c:pt idx="6">
                  <c:v>0.02695129815056332</c:v>
                </c:pt>
                <c:pt idx="7">
                  <c:v>0.03765168212342693</c:v>
                </c:pt>
                <c:pt idx="8">
                  <c:v>0.05217987463835769</c:v>
                </c:pt>
                <c:pt idx="9">
                  <c:v>0.03258373342713391</c:v>
                </c:pt>
                <c:pt idx="10">
                  <c:v>0.001178236305298287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069135824413645</c:v>
                </c:pt>
                <c:pt idx="1">
                  <c:v>0.0062330638905970254</c:v>
                </c:pt>
                <c:pt idx="2">
                  <c:v>0.005536268127668419</c:v>
                </c:pt>
                <c:pt idx="3">
                  <c:v>0.003436886079237287</c:v>
                </c:pt>
                <c:pt idx="4">
                  <c:v>0.009653903524515712</c:v>
                </c:pt>
                <c:pt idx="5">
                  <c:v>0.01146692879949864</c:v>
                </c:pt>
                <c:pt idx="6">
                  <c:v>0.02459410064040544</c:v>
                </c:pt>
                <c:pt idx="7">
                  <c:v>0.030474623140803125</c:v>
                </c:pt>
                <c:pt idx="8">
                  <c:v>0.026328978311202435</c:v>
                </c:pt>
                <c:pt idx="9">
                  <c:v>0.013911774816376721</c:v>
                </c:pt>
                <c:pt idx="10">
                  <c:v>0.001712731774731790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09235126133814</c:v>
                </c:pt>
                <c:pt idx="2">
                  <c:v>0.0009487311751175447</c:v>
                </c:pt>
                <c:pt idx="3">
                  <c:v>0.012090806667888901</c:v>
                </c:pt>
                <c:pt idx="4">
                  <c:v>0.005961870660159417</c:v>
                </c:pt>
                <c:pt idx="5">
                  <c:v>0.0059059535618829345</c:v>
                </c:pt>
                <c:pt idx="6">
                  <c:v>0.0009476292518093077</c:v>
                </c:pt>
                <c:pt idx="7">
                  <c:v>0.012335560363497942</c:v>
                </c:pt>
                <c:pt idx="8">
                  <c:v>0.009065517547248523</c:v>
                </c:pt>
                <c:pt idx="9">
                  <c:v>0.00441868491794730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6022608672909435</c:v>
                </c:pt>
                <c:pt idx="4">
                  <c:v>0.001962340839815808</c:v>
                </c:pt>
                <c:pt idx="5">
                  <c:v>0.007766338947604122</c:v>
                </c:pt>
                <c:pt idx="6">
                  <c:v>0.008787449955223209</c:v>
                </c:pt>
                <c:pt idx="7">
                  <c:v>0.008580211238643092</c:v>
                </c:pt>
                <c:pt idx="8">
                  <c:v>0.02312423803208464</c:v>
                </c:pt>
                <c:pt idx="9">
                  <c:v>0.007176267280468069</c:v>
                </c:pt>
                <c:pt idx="10">
                  <c:v>0.00673951446763182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8837287191646493</c:v>
                </c:pt>
                <c:pt idx="6">
                  <c:v>0.0015836208180078643</c:v>
                </c:pt>
                <c:pt idx="7">
                  <c:v>0.0034315847732369516</c:v>
                </c:pt>
                <c:pt idx="8">
                  <c:v>0.006167902770717013</c:v>
                </c:pt>
                <c:pt idx="9">
                  <c:v>0.004153339030515587</c:v>
                </c:pt>
                <c:pt idx="10">
                  <c:v>0.00497102673100932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1007589361799876</c:v>
                </c:pt>
                <c:pt idx="7">
                  <c:v>0.0015121610914687006</c:v>
                </c:pt>
                <c:pt idx="8">
                  <c:v>0.004958346348539791</c:v>
                </c:pt>
                <c:pt idx="9">
                  <c:v>0.000668735217302816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24823113692075</c:v>
                </c:pt>
                <c:pt idx="1">
                  <c:v>0.0009905849771726532</c:v>
                </c:pt>
                <c:pt idx="2">
                  <c:v>0.0036198593896823103</c:v>
                </c:pt>
                <c:pt idx="3">
                  <c:v>0.013994257971304259</c:v>
                </c:pt>
                <c:pt idx="4">
                  <c:v>0.004026455316380378</c:v>
                </c:pt>
                <c:pt idx="5">
                  <c:v>0.0178954246075381</c:v>
                </c:pt>
                <c:pt idx="6">
                  <c:v>0.017917160044793073</c:v>
                </c:pt>
                <c:pt idx="7">
                  <c:v>0.030480270326250208</c:v>
                </c:pt>
                <c:pt idx="8">
                  <c:v>0.02256106155809438</c:v>
                </c:pt>
                <c:pt idx="9">
                  <c:v>0.019422811524318365</c:v>
                </c:pt>
                <c:pt idx="10">
                  <c:v>0.0207455051673605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1780870599798812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721160111250067</c:v>
                </c:pt>
                <c:pt idx="3">
                  <c:v>0.0018995807977951749</c:v>
                </c:pt>
                <c:pt idx="4">
                  <c:v>0.008332206869274753</c:v>
                </c:pt>
                <c:pt idx="5">
                  <c:v>0.018047115370149993</c:v>
                </c:pt>
                <c:pt idx="6">
                  <c:v>0.010964844902682803</c:v>
                </c:pt>
                <c:pt idx="7">
                  <c:v>0.02406857253320232</c:v>
                </c:pt>
                <c:pt idx="8">
                  <c:v>0.022811244980804758</c:v>
                </c:pt>
                <c:pt idx="9">
                  <c:v>0.016724325308818348</c:v>
                </c:pt>
                <c:pt idx="10">
                  <c:v>0.0048777351489257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9942158144732938</c:v>
                </c:pt>
                <c:pt idx="1">
                  <c:v>0.000663514855630044</c:v>
                </c:pt>
                <c:pt idx="2">
                  <c:v>0.0014191174421294465</c:v>
                </c:pt>
                <c:pt idx="3">
                  <c:v>0.0005783582223694955</c:v>
                </c:pt>
                <c:pt idx="4">
                  <c:v>0.003897665274921918</c:v>
                </c:pt>
                <c:pt idx="5">
                  <c:v>0.00654226468584088</c:v>
                </c:pt>
                <c:pt idx="6">
                  <c:v>0.015170624463437385</c:v>
                </c:pt>
                <c:pt idx="7">
                  <c:v>0.010642394594609977</c:v>
                </c:pt>
                <c:pt idx="8">
                  <c:v>0.02378567851708693</c:v>
                </c:pt>
                <c:pt idx="9">
                  <c:v>0.005821667448035893</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354170082341963</c:v>
                </c:pt>
                <c:pt idx="3">
                  <c:v>0.0006130825806203111</c:v>
                </c:pt>
                <c:pt idx="4">
                  <c:v>0.0017835262349716633</c:v>
                </c:pt>
                <c:pt idx="5">
                  <c:v>0.003462617688405174</c:v>
                </c:pt>
                <c:pt idx="6">
                  <c:v>0.002544431827391956</c:v>
                </c:pt>
                <c:pt idx="7">
                  <c:v>0.0033868659705804274</c:v>
                </c:pt>
                <c:pt idx="8">
                  <c:v>0.00065672425324303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82909441113341</c:v>
                </c:pt>
                <c:pt idx="2">
                  <c:v>0.0006806029313325278</c:v>
                </c:pt>
                <c:pt idx="3">
                  <c:v>0.0020350292108436557</c:v>
                </c:pt>
                <c:pt idx="4">
                  <c:v>0.008380404994777034</c:v>
                </c:pt>
                <c:pt idx="5">
                  <c:v>0.005258207228793761</c:v>
                </c:pt>
                <c:pt idx="6">
                  <c:v>0.016707206930224885</c:v>
                </c:pt>
                <c:pt idx="7">
                  <c:v>0.02003460760947631</c:v>
                </c:pt>
                <c:pt idx="8">
                  <c:v>0.012158715446567272</c:v>
                </c:pt>
                <c:pt idx="9">
                  <c:v>0.004027064129008179</c:v>
                </c:pt>
                <c:pt idx="10">
                  <c:v>0.001134793680521617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56035532144489</c:v>
                </c:pt>
                <c:pt idx="3">
                  <c:v>0.0006088781906511064</c:v>
                </c:pt>
                <c:pt idx="4">
                  <c:v>0.0008839626744603276</c:v>
                </c:pt>
                <c:pt idx="5">
                  <c:v>0.002358141655269711</c:v>
                </c:pt>
                <c:pt idx="7">
                  <c:v>0.005735272386702752</c:v>
                </c:pt>
                <c:pt idx="8">
                  <c:v>0.00614131904761224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1178620882667</c:v>
                </c:pt>
                <c:pt idx="1">
                  <c:v>0.01678011125118841</c:v>
                </c:pt>
                <c:pt idx="2">
                  <c:v>0.017467836439407504</c:v>
                </c:pt>
                <c:pt idx="3">
                  <c:v>0.03224561001180113</c:v>
                </c:pt>
                <c:pt idx="4">
                  <c:v>0.052161720137869655</c:v>
                </c:pt>
                <c:pt idx="5">
                  <c:v>0.08363670024100006</c:v>
                </c:pt>
                <c:pt idx="6">
                  <c:v>0.11250443507453244</c:v>
                </c:pt>
                <c:pt idx="7">
                  <c:v>0.1510420928374214</c:v>
                </c:pt>
                <c:pt idx="8">
                  <c:v>0.20639349589451972</c:v>
                </c:pt>
                <c:pt idx="9">
                  <c:v>0.08029908370733231</c:v>
                </c:pt>
                <c:pt idx="10">
                  <c:v>0.0783216586655720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6256983980039187</c:v>
                </c:pt>
                <c:pt idx="4">
                  <c:v>0.003485368750144261</c:v>
                </c:pt>
                <c:pt idx="5">
                  <c:v>0.0036785679830550586</c:v>
                </c:pt>
                <c:pt idx="6">
                  <c:v>0.0020019274203202445</c:v>
                </c:pt>
                <c:pt idx="7">
                  <c:v>0.006249266439480174</c:v>
                </c:pt>
                <c:pt idx="8">
                  <c:v>0.001583309035379657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6410525977364729</c:v>
                </c:pt>
                <c:pt idx="3">
                  <c:v>0.008562041049460397</c:v>
                </c:pt>
                <c:pt idx="4">
                  <c:v>0.008917776107712981</c:v>
                </c:pt>
                <c:pt idx="5">
                  <c:v>0.0033792028293068038</c:v>
                </c:pt>
                <c:pt idx="6">
                  <c:v>0.0006318500645374615</c:v>
                </c:pt>
                <c:pt idx="7">
                  <c:v>0.005640978604922377</c:v>
                </c:pt>
                <c:pt idx="8">
                  <c:v>0.00735275120675628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8195488430987017</c:v>
                </c:pt>
                <c:pt idx="8">
                  <c:v>0.0014257671804703707</c:v>
                </c:pt>
                <c:pt idx="9">
                  <c:v>0.0010135055262834038</c:v>
                </c:pt>
                <c:pt idx="10">
                  <c:v>0.00117319684952361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6410525977364729</c:v>
                </c:pt>
                <c:pt idx="3">
                  <c:v>0.008562041049460397</c:v>
                </c:pt>
                <c:pt idx="4">
                  <c:v>0.008917776107712981</c:v>
                </c:pt>
                <c:pt idx="5">
                  <c:v>0.0033792028293068038</c:v>
                </c:pt>
                <c:pt idx="6">
                  <c:v>0.0006318500645374615</c:v>
                </c:pt>
                <c:pt idx="7">
                  <c:v>0.005640978604922377</c:v>
                </c:pt>
                <c:pt idx="8">
                  <c:v>0.00735275120675628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2915430566361968</c:v>
                </c:pt>
                <c:pt idx="1">
                  <c:v>0.025515726790348144</c:v>
                </c:pt>
                <c:pt idx="2">
                  <c:v>0.03199740978374033</c:v>
                </c:pt>
                <c:pt idx="3">
                  <c:v>0.0411103752403546</c:v>
                </c:pt>
                <c:pt idx="4">
                  <c:v>0.05793075164029115</c:v>
                </c:pt>
                <c:pt idx="5">
                  <c:v>0.11068370870934567</c:v>
                </c:pt>
                <c:pt idx="6">
                  <c:v>0.13434203264565014</c:v>
                </c:pt>
                <c:pt idx="7">
                  <c:v>0.17805870919511416</c:v>
                </c:pt>
                <c:pt idx="8">
                  <c:v>0.1872343763191081</c:v>
                </c:pt>
                <c:pt idx="9">
                  <c:v>0.136610462129647</c:v>
                </c:pt>
                <c:pt idx="10">
                  <c:v>0.02536890245908493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6981271760873598</c:v>
                </c:pt>
                <c:pt idx="4">
                  <c:v>0.007599096365085087</c:v>
                </c:pt>
                <c:pt idx="5">
                  <c:v>0.003592422073275713</c:v>
                </c:pt>
                <c:pt idx="6">
                  <c:v>0.0032777212980458176</c:v>
                </c:pt>
                <c:pt idx="7">
                  <c:v>0.004155694768489085</c:v>
                </c:pt>
                <c:pt idx="8">
                  <c:v>0.0018617436727184685</c:v>
                </c:pt>
                <c:pt idx="9">
                  <c:v>0.001441070302449457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031836619340219</c:v>
                </c:pt>
                <c:pt idx="2">
                  <c:v>0.001591815096428842</c:v>
                </c:pt>
                <c:pt idx="3">
                  <c:v>0.006435589675724803</c:v>
                </c:pt>
                <c:pt idx="4">
                  <c:v>0.0140854118527152</c:v>
                </c:pt>
                <c:pt idx="5">
                  <c:v>0.0036704796011847963</c:v>
                </c:pt>
                <c:pt idx="6">
                  <c:v>0.003448342923783125</c:v>
                </c:pt>
                <c:pt idx="7">
                  <c:v>0.0050893010632526514</c:v>
                </c:pt>
                <c:pt idx="8">
                  <c:v>0.00796461302849714</c:v>
                </c:pt>
                <c:pt idx="9">
                  <c:v>0.000682220563465201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8995605637284275</c:v>
                </c:pt>
                <c:pt idx="1">
                  <c:v>0.005738452954606113</c:v>
                </c:pt>
                <c:pt idx="2">
                  <c:v>0.006830274380914761</c:v>
                </c:pt>
                <c:pt idx="3">
                  <c:v>0.035198694912887574</c:v>
                </c:pt>
                <c:pt idx="4">
                  <c:v>0.025964065195523935</c:v>
                </c:pt>
                <c:pt idx="5">
                  <c:v>0.0596197148614212</c:v>
                </c:pt>
                <c:pt idx="6">
                  <c:v>0.056332140445337735</c:v>
                </c:pt>
                <c:pt idx="7">
                  <c:v>0.08949387502678396</c:v>
                </c:pt>
                <c:pt idx="8">
                  <c:v>0.10200446488856227</c:v>
                </c:pt>
                <c:pt idx="9">
                  <c:v>0.05403571298731412</c:v>
                </c:pt>
                <c:pt idx="10">
                  <c:v>0.03238516514919935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5177359115668418</c:v>
                </c:pt>
                <c:pt idx="3">
                  <c:v>0.004219779496385732</c:v>
                </c:pt>
                <c:pt idx="4">
                  <c:v>0.004835302837133787</c:v>
                </c:pt>
                <c:pt idx="6">
                  <c:v>0.0005331352897994527</c:v>
                </c:pt>
                <c:pt idx="7">
                  <c:v>0.00521916608598292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0492971039204782</c:v>
                </c:pt>
                <c:pt idx="4">
                  <c:v>0.0029732480376006205</c:v>
                </c:pt>
                <c:pt idx="5">
                  <c:v>0.0031020353242508093</c:v>
                </c:pt>
                <c:pt idx="7">
                  <c:v>0.005079593724953369</c:v>
                </c:pt>
                <c:pt idx="8">
                  <c:v>0.005550999271025390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8195488430987017</c:v>
                </c:pt>
                <c:pt idx="8">
                  <c:v>0.0014257671804703707</c:v>
                </c:pt>
                <c:pt idx="9">
                  <c:v>0.0010135055262834038</c:v>
                </c:pt>
                <c:pt idx="10">
                  <c:v>0.00117319684952361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8837287191646493</c:v>
                </c:pt>
                <c:pt idx="6">
                  <c:v>0.0015836208180078643</c:v>
                </c:pt>
                <c:pt idx="7">
                  <c:v>0.0034315847732369516</c:v>
                </c:pt>
                <c:pt idx="8">
                  <c:v>0.006167902770717013</c:v>
                </c:pt>
                <c:pt idx="9">
                  <c:v>0.004153339030515587</c:v>
                </c:pt>
                <c:pt idx="10">
                  <c:v>0.00497102673100932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541616463290543</c:v>
                </c:pt>
                <c:pt idx="1">
                  <c:v>0.01943607065106312</c:v>
                </c:pt>
                <c:pt idx="2">
                  <c:v>0.02108641110990976</c:v>
                </c:pt>
                <c:pt idx="3">
                  <c:v>0.046569808706570494</c:v>
                </c:pt>
                <c:pt idx="4">
                  <c:v>0.07462372011083421</c:v>
                </c:pt>
                <c:pt idx="5">
                  <c:v>0.09599894343423836</c:v>
                </c:pt>
                <c:pt idx="6">
                  <c:v>0.12652950462795648</c:v>
                </c:pt>
                <c:pt idx="7">
                  <c:v>0.1782603291847292</c:v>
                </c:pt>
                <c:pt idx="8">
                  <c:v>0.23029496867179491</c:v>
                </c:pt>
                <c:pt idx="9">
                  <c:v>0.103249599446479</c:v>
                </c:pt>
                <c:pt idx="10">
                  <c:v>0.08340902759313393</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41178620882667</c:v>
                </c:pt>
                <c:pt idx="1">
                  <c:v>0.01678011125118841</c:v>
                </c:pt>
                <c:pt idx="2">
                  <c:v>0.017467836439407504</c:v>
                </c:pt>
                <c:pt idx="3">
                  <c:v>0.03224561001180113</c:v>
                </c:pt>
                <c:pt idx="4">
                  <c:v>0.052161720137869655</c:v>
                </c:pt>
                <c:pt idx="5">
                  <c:v>0.08363670024100006</c:v>
                </c:pt>
                <c:pt idx="6">
                  <c:v>0.11250443507453244</c:v>
                </c:pt>
                <c:pt idx="7">
                  <c:v>0.1510420928374214</c:v>
                </c:pt>
                <c:pt idx="8">
                  <c:v>0.20639349589451972</c:v>
                </c:pt>
                <c:pt idx="9">
                  <c:v>0.08029908370733231</c:v>
                </c:pt>
                <c:pt idx="10">
                  <c:v>0.0783216586655720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0747512253238946</c:v>
                </c:pt>
                <c:pt idx="7">
                  <c:v>0.003780726894417773</c:v>
                </c:pt>
                <c:pt idx="8">
                  <c:v>0.007014674167378361</c:v>
                </c:pt>
                <c:pt idx="9">
                  <c:v>0.000692013722130404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6410525977364729</c:v>
                </c:pt>
                <c:pt idx="3">
                  <c:v>0.008562041049460397</c:v>
                </c:pt>
                <c:pt idx="4">
                  <c:v>0.008917776107712981</c:v>
                </c:pt>
                <c:pt idx="5">
                  <c:v>0.0033792028293068038</c:v>
                </c:pt>
                <c:pt idx="6">
                  <c:v>0.0006318500645374615</c:v>
                </c:pt>
                <c:pt idx="7">
                  <c:v>0.005640978604922377</c:v>
                </c:pt>
                <c:pt idx="8">
                  <c:v>0.00735275120675628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133205086187435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8195488430987017</c:v>
                </c:pt>
                <c:pt idx="8">
                  <c:v>0.0014257671804703707</c:v>
                </c:pt>
                <c:pt idx="9">
                  <c:v>0.0010135055262834038</c:v>
                </c:pt>
                <c:pt idx="10">
                  <c:v>0.001173196849523617</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2915430566361968</c:v>
                </c:pt>
                <c:pt idx="1">
                  <c:v>0.025515726790348144</c:v>
                </c:pt>
                <c:pt idx="2">
                  <c:v>0.03199740978374033</c:v>
                </c:pt>
                <c:pt idx="3">
                  <c:v>0.0411103752403546</c:v>
                </c:pt>
                <c:pt idx="4">
                  <c:v>0.05793075164029115</c:v>
                </c:pt>
                <c:pt idx="5">
                  <c:v>0.11068370870934567</c:v>
                </c:pt>
                <c:pt idx="6">
                  <c:v>0.13434203264565014</c:v>
                </c:pt>
                <c:pt idx="7">
                  <c:v>0.17805870919511416</c:v>
                </c:pt>
                <c:pt idx="8">
                  <c:v>0.1872343763191081</c:v>
                </c:pt>
                <c:pt idx="9">
                  <c:v>0.136610462129647</c:v>
                </c:pt>
                <c:pt idx="10">
                  <c:v>0.02536890245908493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21529431183839134</c:v>
                </c:pt>
                <c:pt idx="7">
                  <c:v>0.006460184788650986</c:v>
                </c:pt>
                <c:pt idx="8">
                  <c:v>0.008492447142790363</c:v>
                </c:pt>
                <c:pt idx="9">
                  <c:v>0.00108807853086587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031836619340219</c:v>
                </c:pt>
                <c:pt idx="2">
                  <c:v>0.001591815096428842</c:v>
                </c:pt>
                <c:pt idx="3">
                  <c:v>0.006435589675724803</c:v>
                </c:pt>
                <c:pt idx="4">
                  <c:v>0.0140854118527152</c:v>
                </c:pt>
                <c:pt idx="5">
                  <c:v>0.0036704796011847963</c:v>
                </c:pt>
                <c:pt idx="6">
                  <c:v>0.003448342923783125</c:v>
                </c:pt>
                <c:pt idx="7">
                  <c:v>0.0050893010632526514</c:v>
                </c:pt>
                <c:pt idx="8">
                  <c:v>0.00796461302849714</c:v>
                </c:pt>
                <c:pt idx="9">
                  <c:v>0.000682220563465201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3986293976557332</c:v>
                </c:pt>
                <c:pt idx="6">
                  <c:v>0.000936480156929688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754865016887845</c:v>
                </c:pt>
                <c:pt idx="1">
                  <c:v>0.017854306339291238</c:v>
                </c:pt>
                <c:pt idx="2">
                  <c:v>0.019757008334856996</c:v>
                </c:pt>
                <c:pt idx="3">
                  <c:v>0.07191615694747673</c:v>
                </c:pt>
                <c:pt idx="4">
                  <c:v>0.0858147707304343</c:v>
                </c:pt>
                <c:pt idx="5">
                  <c:v>0.09908458850639609</c:v>
                </c:pt>
                <c:pt idx="6">
                  <c:v>0.10769317427022629</c:v>
                </c:pt>
                <c:pt idx="7">
                  <c:v>0.18687900027258553</c:v>
                </c:pt>
                <c:pt idx="8">
                  <c:v>0.17958436439034664</c:v>
                </c:pt>
                <c:pt idx="9">
                  <c:v>0.14013474962838257</c:v>
                </c:pt>
                <c:pt idx="10">
                  <c:v>0.05952701556311577</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8995605637284275</c:v>
                </c:pt>
                <c:pt idx="1">
                  <c:v>0.005738452954606113</c:v>
                </c:pt>
                <c:pt idx="2">
                  <c:v>0.006830274380914761</c:v>
                </c:pt>
                <c:pt idx="3">
                  <c:v>0.035198694912887574</c:v>
                </c:pt>
                <c:pt idx="4">
                  <c:v>0.025964065195523935</c:v>
                </c:pt>
                <c:pt idx="5">
                  <c:v>0.0596197148614212</c:v>
                </c:pt>
                <c:pt idx="6">
                  <c:v>0.056332140445337735</c:v>
                </c:pt>
                <c:pt idx="7">
                  <c:v>0.08949387502678396</c:v>
                </c:pt>
                <c:pt idx="8">
                  <c:v>0.10200446488856227</c:v>
                </c:pt>
                <c:pt idx="9">
                  <c:v>0.05403571298731412</c:v>
                </c:pt>
                <c:pt idx="10">
                  <c:v>0.03238516514919935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1007589361799876</c:v>
                </c:pt>
                <c:pt idx="7">
                  <c:v>0.001802055075399667</c:v>
                </c:pt>
                <c:pt idx="8">
                  <c:v>0.006739216948338604</c:v>
                </c:pt>
                <c:pt idx="9">
                  <c:v>0.000668735217302816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0492971039204782</c:v>
                </c:pt>
                <c:pt idx="4">
                  <c:v>0.0029732480376006205</c:v>
                </c:pt>
                <c:pt idx="5">
                  <c:v>0.0031020353242508093</c:v>
                </c:pt>
                <c:pt idx="7">
                  <c:v>0.005079593724953369</c:v>
                </c:pt>
                <c:pt idx="8">
                  <c:v>0.005550999271025390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102035324250809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8837287191646493</c:v>
                </c:pt>
                <c:pt idx="6">
                  <c:v>0.0015836208180078643</c:v>
                </c:pt>
                <c:pt idx="7">
                  <c:v>0.0034315847732369516</c:v>
                </c:pt>
                <c:pt idx="8">
                  <c:v>0.006167902770717013</c:v>
                </c:pt>
                <c:pt idx="9">
                  <c:v>0.004153339030515587</c:v>
                </c:pt>
                <c:pt idx="10">
                  <c:v>0.004971026731009328</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170943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4952062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4184344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6183732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2299145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014668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0275758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8219741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343341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0091948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706907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1493338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9638385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7078175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5869198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7046740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7546789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2839246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8258888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1371698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8145265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2329094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115463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2297973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186857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1549244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5592448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91</Words>
  <Application>Microsoft Office PowerPoint</Application>
  <PresentationFormat>On-screen Show (16:9)</PresentationFormat>
  <Paragraphs>1053</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4:4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